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FF62C4-EF7B-4076-B6BF-2B5770FE6CF0}" v="31" dt="2024-08-30T08:22:59.7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93447" autoAdjust="0"/>
  </p:normalViewPr>
  <p:slideViewPr>
    <p:cSldViewPr snapToGrid="0">
      <p:cViewPr>
        <p:scale>
          <a:sx n="50" d="100"/>
          <a:sy n="50" d="100"/>
        </p:scale>
        <p:origin x="1396" y="380"/>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Muthukumar, Priadarshni SBOBNG-PTIY/BBN" userId="68c40811-d079-4369-be7a-c70ba99d5235" providerId="ADAL" clId="{6BFF62C4-EF7B-4076-B6BF-2B5770FE6CF0}"/>
    <pc:docChg chg="undo custSel modSld">
      <pc:chgData name="Muthukumar, Priadarshni SBOBNG-PTIY/BBN" userId="68c40811-d079-4369-be7a-c70ba99d5235" providerId="ADAL" clId="{6BFF62C4-EF7B-4076-B6BF-2B5770FE6CF0}" dt="2024-08-30T13:34:27.674" v="6660" actId="20577"/>
      <pc:docMkLst>
        <pc:docMk/>
      </pc:docMkLst>
      <pc:sldChg chg="modSp mod">
        <pc:chgData name="Muthukumar, Priadarshni SBOBNG-PTIY/BBN" userId="68c40811-d079-4369-be7a-c70ba99d5235" providerId="ADAL" clId="{6BFF62C4-EF7B-4076-B6BF-2B5770FE6CF0}" dt="2024-08-27T09:12:55.102" v="34" actId="20577"/>
        <pc:sldMkLst>
          <pc:docMk/>
          <pc:sldMk cId="3267775274" sldId="256"/>
        </pc:sldMkLst>
        <pc:spChg chg="mod">
          <ac:chgData name="Muthukumar, Priadarshni SBOBNG-PTIY/BBN" userId="68c40811-d079-4369-be7a-c70ba99d5235" providerId="ADAL" clId="{6BFF62C4-EF7B-4076-B6BF-2B5770FE6CF0}" dt="2024-08-27T09:12:55.102" v="34" actId="20577"/>
          <ac:spMkLst>
            <pc:docMk/>
            <pc:sldMk cId="3267775274" sldId="256"/>
            <ac:spMk id="6" creationId="{0C37A4A8-A3C7-407F-B123-88E2E165C827}"/>
          </ac:spMkLst>
        </pc:spChg>
        <pc:spChg chg="mod">
          <ac:chgData name="Muthukumar, Priadarshni SBOBNG-PTIY/BBN" userId="68c40811-d079-4369-be7a-c70ba99d5235" providerId="ADAL" clId="{6BFF62C4-EF7B-4076-B6BF-2B5770FE6CF0}" dt="2024-08-27T09:08:10.956" v="31" actId="20577"/>
          <ac:spMkLst>
            <pc:docMk/>
            <pc:sldMk cId="3267775274" sldId="256"/>
            <ac:spMk id="12" creationId="{8A24547F-8A92-CDC5-A578-3733390534F2}"/>
          </ac:spMkLst>
        </pc:spChg>
      </pc:sldChg>
      <pc:sldChg chg="addSp modSp mod">
        <pc:chgData name="Muthukumar, Priadarshni SBOBNG-PTIY/BBN" userId="68c40811-d079-4369-be7a-c70ba99d5235" providerId="ADAL" clId="{6BFF62C4-EF7B-4076-B6BF-2B5770FE6CF0}" dt="2024-08-30T08:06:06.742" v="2812" actId="14100"/>
        <pc:sldMkLst>
          <pc:docMk/>
          <pc:sldMk cId="867832184" sldId="2147375589"/>
        </pc:sldMkLst>
        <pc:spChg chg="mod">
          <ac:chgData name="Muthukumar, Priadarshni SBOBNG-PTIY/BBN" userId="68c40811-d079-4369-be7a-c70ba99d5235" providerId="ADAL" clId="{6BFF62C4-EF7B-4076-B6BF-2B5770FE6CF0}" dt="2024-08-27T09:20:03.942" v="121" actId="20577"/>
          <ac:spMkLst>
            <pc:docMk/>
            <pc:sldMk cId="867832184" sldId="2147375589"/>
            <ac:spMk id="10" creationId="{1119CB9E-042F-11E8-F683-654626D307B3}"/>
          </ac:spMkLst>
        </pc:spChg>
        <pc:picChg chg="add mod">
          <ac:chgData name="Muthukumar, Priadarshni SBOBNG-PTIY/BBN" userId="68c40811-d079-4369-be7a-c70ba99d5235" providerId="ADAL" clId="{6BFF62C4-EF7B-4076-B6BF-2B5770FE6CF0}" dt="2024-08-30T08:06:06.742" v="2812" actId="14100"/>
          <ac:picMkLst>
            <pc:docMk/>
            <pc:sldMk cId="867832184" sldId="2147375589"/>
            <ac:picMk id="2" creationId="{17BBDCB8-DB67-115A-1BFF-E8632C1F72D4}"/>
          </ac:picMkLst>
        </pc:picChg>
      </pc:sldChg>
      <pc:sldChg chg="addSp modSp mod">
        <pc:chgData name="Muthukumar, Priadarshni SBOBNG-PTIY/BBN" userId="68c40811-d079-4369-be7a-c70ba99d5235" providerId="ADAL" clId="{6BFF62C4-EF7B-4076-B6BF-2B5770FE6CF0}" dt="2024-08-30T09:20:45.229" v="4730" actId="1076"/>
        <pc:sldMkLst>
          <pc:docMk/>
          <pc:sldMk cId="245881457" sldId="2147375597"/>
        </pc:sldMkLst>
        <pc:spChg chg="mod">
          <ac:chgData name="Muthukumar, Priadarshni SBOBNG-PTIY/BBN" userId="68c40811-d079-4369-be7a-c70ba99d5235" providerId="ADAL" clId="{6BFF62C4-EF7B-4076-B6BF-2B5770FE6CF0}" dt="2024-08-27T10:54:57.389" v="122" actId="1076"/>
          <ac:spMkLst>
            <pc:docMk/>
            <pc:sldMk cId="245881457" sldId="2147375597"/>
            <ac:spMk id="3" creationId="{CEA128C4-A0BC-A895-713C-306E7FF62894}"/>
          </ac:spMkLst>
        </pc:spChg>
        <pc:spChg chg="mod">
          <ac:chgData name="Muthukumar, Priadarshni SBOBNG-PTIY/BBN" userId="68c40811-d079-4369-be7a-c70ba99d5235" providerId="ADAL" clId="{6BFF62C4-EF7B-4076-B6BF-2B5770FE6CF0}" dt="2024-08-29T05:14:49.244" v="1253" actId="5793"/>
          <ac:spMkLst>
            <pc:docMk/>
            <pc:sldMk cId="245881457" sldId="2147375597"/>
            <ac:spMk id="11" creationId="{DE9F1BE0-7910-FA1B-DCE8-56EFD1E4FC09}"/>
          </ac:spMkLst>
        </pc:spChg>
        <pc:picChg chg="add mod modCrop">
          <ac:chgData name="Muthukumar, Priadarshni SBOBNG-PTIY/BBN" userId="68c40811-d079-4369-be7a-c70ba99d5235" providerId="ADAL" clId="{6BFF62C4-EF7B-4076-B6BF-2B5770FE6CF0}" dt="2024-08-30T09:20:45.229" v="4730" actId="1076"/>
          <ac:picMkLst>
            <pc:docMk/>
            <pc:sldMk cId="245881457" sldId="2147375597"/>
            <ac:picMk id="5" creationId="{CF1B470F-AAA3-ED45-9DF7-7151580B8E14}"/>
          </ac:picMkLst>
        </pc:picChg>
      </pc:sldChg>
      <pc:sldChg chg="addSp modSp mod">
        <pc:chgData name="Muthukumar, Priadarshni SBOBNG-PTIY/BBN" userId="68c40811-d079-4369-be7a-c70ba99d5235" providerId="ADAL" clId="{6BFF62C4-EF7B-4076-B6BF-2B5770FE6CF0}" dt="2024-08-30T08:04:09.275" v="2805" actId="14100"/>
        <pc:sldMkLst>
          <pc:docMk/>
          <pc:sldMk cId="1181112711" sldId="2147375600"/>
        </pc:sldMkLst>
        <pc:spChg chg="mod">
          <ac:chgData name="Muthukumar, Priadarshni SBOBNG-PTIY/BBN" userId="68c40811-d079-4369-be7a-c70ba99d5235" providerId="ADAL" clId="{6BFF62C4-EF7B-4076-B6BF-2B5770FE6CF0}" dt="2024-08-30T08:02:06.942" v="2786" actId="20577"/>
          <ac:spMkLst>
            <pc:docMk/>
            <pc:sldMk cId="1181112711" sldId="2147375600"/>
            <ac:spMk id="11" creationId="{DE9F1BE0-7910-FA1B-DCE8-56EFD1E4FC09}"/>
          </ac:spMkLst>
        </pc:spChg>
        <pc:spChg chg="mod">
          <ac:chgData name="Muthukumar, Priadarshni SBOBNG-PTIY/BBN" userId="68c40811-d079-4369-be7a-c70ba99d5235" providerId="ADAL" clId="{6BFF62C4-EF7B-4076-B6BF-2B5770FE6CF0}" dt="2024-08-30T08:03:56.906" v="2802" actId="27636"/>
          <ac:spMkLst>
            <pc:docMk/>
            <pc:sldMk cId="1181112711" sldId="2147375600"/>
            <ac:spMk id="12" creationId="{E53E5C3F-4D2B-B85F-E592-E58E032C664C}"/>
          </ac:spMkLst>
        </pc:spChg>
        <pc:picChg chg="add mod">
          <ac:chgData name="Muthukumar, Priadarshni SBOBNG-PTIY/BBN" userId="68c40811-d079-4369-be7a-c70ba99d5235" providerId="ADAL" clId="{6BFF62C4-EF7B-4076-B6BF-2B5770FE6CF0}" dt="2024-08-30T08:04:09.275" v="2805" actId="14100"/>
          <ac:picMkLst>
            <pc:docMk/>
            <pc:sldMk cId="1181112711" sldId="2147375600"/>
            <ac:picMk id="2050" creationId="{D6D4A02F-935A-A8DA-D745-E0C231C1FF17}"/>
          </ac:picMkLst>
        </pc:picChg>
      </pc:sldChg>
      <pc:sldChg chg="addSp modSp mod">
        <pc:chgData name="Muthukumar, Priadarshni SBOBNG-PTIY/BBN" userId="68c40811-d079-4369-be7a-c70ba99d5235" providerId="ADAL" clId="{6BFF62C4-EF7B-4076-B6BF-2B5770FE6CF0}" dt="2024-08-30T08:31:12.826" v="4613" actId="20577"/>
        <pc:sldMkLst>
          <pc:docMk/>
          <pc:sldMk cId="3233747587" sldId="2147375601"/>
        </pc:sldMkLst>
        <pc:spChg chg="mod">
          <ac:chgData name="Muthukumar, Priadarshni SBOBNG-PTIY/BBN" userId="68c40811-d079-4369-be7a-c70ba99d5235" providerId="ADAL" clId="{6BFF62C4-EF7B-4076-B6BF-2B5770FE6CF0}" dt="2024-08-30T08:31:12.826" v="4613" actId="20577"/>
          <ac:spMkLst>
            <pc:docMk/>
            <pc:sldMk cId="3233747587" sldId="2147375601"/>
            <ac:spMk id="11" creationId="{DE9F1BE0-7910-FA1B-DCE8-56EFD1E4FC09}"/>
          </ac:spMkLst>
        </pc:spChg>
        <pc:spChg chg="mod">
          <ac:chgData name="Muthukumar, Priadarshni SBOBNG-PTIY/BBN" userId="68c40811-d079-4369-be7a-c70ba99d5235" providerId="ADAL" clId="{6BFF62C4-EF7B-4076-B6BF-2B5770FE6CF0}" dt="2024-08-30T08:22:12.566" v="3776" actId="27636"/>
          <ac:spMkLst>
            <pc:docMk/>
            <pc:sldMk cId="3233747587" sldId="2147375601"/>
            <ac:spMk id="12" creationId="{E53E5C3F-4D2B-B85F-E592-E58E032C664C}"/>
          </ac:spMkLst>
        </pc:spChg>
        <pc:picChg chg="add mod">
          <ac:chgData name="Muthukumar, Priadarshni SBOBNG-PTIY/BBN" userId="68c40811-d079-4369-be7a-c70ba99d5235" providerId="ADAL" clId="{6BFF62C4-EF7B-4076-B6BF-2B5770FE6CF0}" dt="2024-08-30T08:22:59.730" v="3780" actId="14100"/>
          <ac:picMkLst>
            <pc:docMk/>
            <pc:sldMk cId="3233747587" sldId="2147375601"/>
            <ac:picMk id="3074" creationId="{0355A3AF-34DE-63A7-3A32-954DA5603A35}"/>
          </ac:picMkLst>
        </pc:picChg>
      </pc:sldChg>
      <pc:sldChg chg="modSp mod">
        <pc:chgData name="Muthukumar, Priadarshni SBOBNG-PTIY/BBN" userId="68c40811-d079-4369-be7a-c70ba99d5235" providerId="ADAL" clId="{6BFF62C4-EF7B-4076-B6BF-2B5770FE6CF0}" dt="2024-08-30T13:34:27.674" v="6660" actId="20577"/>
        <pc:sldMkLst>
          <pc:docMk/>
          <pc:sldMk cId="3971512377" sldId="2147375603"/>
        </pc:sldMkLst>
        <pc:spChg chg="mod">
          <ac:chgData name="Muthukumar, Priadarshni SBOBNG-PTIY/BBN" userId="68c40811-d079-4369-be7a-c70ba99d5235" providerId="ADAL" clId="{6BFF62C4-EF7B-4076-B6BF-2B5770FE6CF0}" dt="2024-08-30T13:34:27.674" v="6660" actId="20577"/>
          <ac:spMkLst>
            <pc:docMk/>
            <pc:sldMk cId="3971512377" sldId="2147375603"/>
            <ac:spMk id="11" creationId="{DE9F1BE0-7910-FA1B-DCE8-56EFD1E4FC09}"/>
          </ac:spMkLst>
        </pc:spChg>
      </pc:sldChg>
      <pc:sldChg chg="addSp delSp modSp mod">
        <pc:chgData name="Muthukumar, Priadarshni SBOBNG-PTIY/BBN" userId="68c40811-d079-4369-be7a-c70ba99d5235" providerId="ADAL" clId="{6BFF62C4-EF7B-4076-B6BF-2B5770FE6CF0}" dt="2024-08-30T10:16:43.902" v="5951" actId="20577"/>
        <pc:sldMkLst>
          <pc:docMk/>
          <pc:sldMk cId="3754613224" sldId="2147375611"/>
        </pc:sldMkLst>
        <pc:spChg chg="mod">
          <ac:chgData name="Muthukumar, Priadarshni SBOBNG-PTIY/BBN" userId="68c40811-d079-4369-be7a-c70ba99d5235" providerId="ADAL" clId="{6BFF62C4-EF7B-4076-B6BF-2B5770FE6CF0}" dt="2024-08-30T10:14:35.654" v="5901" actId="27636"/>
          <ac:spMkLst>
            <pc:docMk/>
            <pc:sldMk cId="3754613224" sldId="2147375611"/>
            <ac:spMk id="18" creationId="{6C73795A-BE20-7075-E9C6-6F145CE60794}"/>
          </ac:spMkLst>
        </pc:spChg>
        <pc:spChg chg="mod">
          <ac:chgData name="Muthukumar, Priadarshni SBOBNG-PTIY/BBN" userId="68c40811-d079-4369-be7a-c70ba99d5235" providerId="ADAL" clId="{6BFF62C4-EF7B-4076-B6BF-2B5770FE6CF0}" dt="2024-08-30T10:16:43.902" v="5951" actId="20577"/>
          <ac:spMkLst>
            <pc:docMk/>
            <pc:sldMk cId="3754613224" sldId="2147375611"/>
            <ac:spMk id="19" creationId="{A3E2F4D1-4417-E244-3DB9-A6FF5866A342}"/>
          </ac:spMkLst>
        </pc:spChg>
        <pc:spChg chg="mod">
          <ac:chgData name="Muthukumar, Priadarshni SBOBNG-PTIY/BBN" userId="68c40811-d079-4369-be7a-c70ba99d5235" providerId="ADAL" clId="{6BFF62C4-EF7B-4076-B6BF-2B5770FE6CF0}" dt="2024-08-30T10:07:42.290" v="5620" actId="1035"/>
          <ac:spMkLst>
            <pc:docMk/>
            <pc:sldMk cId="3754613224" sldId="2147375611"/>
            <ac:spMk id="20" creationId="{3EBEB0AC-D407-44FD-A74F-90F67F3D13C3}"/>
          </ac:spMkLst>
        </pc:spChg>
        <pc:picChg chg="add del">
          <ac:chgData name="Muthukumar, Priadarshni SBOBNG-PTIY/BBN" userId="68c40811-d079-4369-be7a-c70ba99d5235" providerId="ADAL" clId="{6BFF62C4-EF7B-4076-B6BF-2B5770FE6CF0}" dt="2024-08-30T10:01:52.584" v="5301" actId="22"/>
          <ac:picMkLst>
            <pc:docMk/>
            <pc:sldMk cId="3754613224" sldId="2147375611"/>
            <ac:picMk id="6" creationId="{63862DA7-F55A-F4BF-C295-38FF3D45683F}"/>
          </ac:picMkLst>
        </pc:picChg>
        <pc:picChg chg="add del">
          <ac:chgData name="Muthukumar, Priadarshni SBOBNG-PTIY/BBN" userId="68c40811-d079-4369-be7a-c70ba99d5235" providerId="ADAL" clId="{6BFF62C4-EF7B-4076-B6BF-2B5770FE6CF0}" dt="2024-08-30T10:01:59.477" v="5305" actId="22"/>
          <ac:picMkLst>
            <pc:docMk/>
            <pc:sldMk cId="3754613224" sldId="2147375611"/>
            <ac:picMk id="9" creationId="{493FED38-6CFF-5816-6F21-4120E174F4CB}"/>
          </ac:picMkLst>
        </pc:picChg>
      </pc:sldChg>
      <pc:sldChg chg="addSp delSp modSp mod">
        <pc:chgData name="Muthukumar, Priadarshni SBOBNG-PTIY/BBN" userId="68c40811-d079-4369-be7a-c70ba99d5235" providerId="ADAL" clId="{6BFF62C4-EF7B-4076-B6BF-2B5770FE6CF0}" dt="2024-08-29T06:13:26.593" v="2422" actId="14100"/>
        <pc:sldMkLst>
          <pc:docMk/>
          <pc:sldMk cId="1148838763" sldId="2147375613"/>
        </pc:sldMkLst>
        <pc:spChg chg="mod">
          <ac:chgData name="Muthukumar, Priadarshni SBOBNG-PTIY/BBN" userId="68c40811-d079-4369-be7a-c70ba99d5235" providerId="ADAL" clId="{6BFF62C4-EF7B-4076-B6BF-2B5770FE6CF0}" dt="2024-08-29T05:30:19.703" v="2322" actId="20577"/>
          <ac:spMkLst>
            <pc:docMk/>
            <pc:sldMk cId="1148838763" sldId="2147375613"/>
            <ac:spMk id="11" creationId="{8CC1343B-2E39-FEFF-8FF6-46822F18B432}"/>
          </ac:spMkLst>
        </pc:spChg>
        <pc:spChg chg="mod">
          <ac:chgData name="Muthukumar, Priadarshni SBOBNG-PTIY/BBN" userId="68c40811-d079-4369-be7a-c70ba99d5235" providerId="ADAL" clId="{6BFF62C4-EF7B-4076-B6BF-2B5770FE6CF0}" dt="2024-08-29T06:07:49.305" v="2393" actId="20577"/>
          <ac:spMkLst>
            <pc:docMk/>
            <pc:sldMk cId="1148838763" sldId="2147375613"/>
            <ac:spMk id="12" creationId="{5A873A1A-E63F-91AE-7D43-ED0F86870147}"/>
          </ac:spMkLst>
        </pc:spChg>
        <pc:picChg chg="add del">
          <ac:chgData name="Muthukumar, Priadarshni SBOBNG-PTIY/BBN" userId="68c40811-d079-4369-be7a-c70ba99d5235" providerId="ADAL" clId="{6BFF62C4-EF7B-4076-B6BF-2B5770FE6CF0}" dt="2024-08-29T05:30:00.805" v="2283" actId="478"/>
          <ac:picMkLst>
            <pc:docMk/>
            <pc:sldMk cId="1148838763" sldId="2147375613"/>
            <ac:picMk id="6" creationId="{47DDAAD1-7AA4-155A-DDE2-A4194C775B4F}"/>
          </ac:picMkLst>
        </pc:picChg>
        <pc:picChg chg="add mod modCrop">
          <ac:chgData name="Muthukumar, Priadarshni SBOBNG-PTIY/BBN" userId="68c40811-d079-4369-be7a-c70ba99d5235" providerId="ADAL" clId="{6BFF62C4-EF7B-4076-B6BF-2B5770FE6CF0}" dt="2024-08-29T06:13:26.593" v="2422" actId="14100"/>
          <ac:picMkLst>
            <pc:docMk/>
            <pc:sldMk cId="1148838763" sldId="2147375613"/>
            <ac:picMk id="6" creationId="{49CCB04B-32D4-D362-DD25-0AAFB0CE12DB}"/>
          </ac:picMkLst>
        </pc:picChg>
      </pc:sldChg>
      <pc:sldChg chg="addSp delSp modSp mod">
        <pc:chgData name="Muthukumar, Priadarshni SBOBNG-PTIY/BBN" userId="68c40811-d079-4369-be7a-c70ba99d5235" providerId="ADAL" clId="{6BFF62C4-EF7B-4076-B6BF-2B5770FE6CF0}" dt="2024-08-30T08:32:41.149" v="4716" actId="20577"/>
        <pc:sldMkLst>
          <pc:docMk/>
          <pc:sldMk cId="3865850111" sldId="2147375614"/>
        </pc:sldMkLst>
        <pc:spChg chg="mod">
          <ac:chgData name="Muthukumar, Priadarshni SBOBNG-PTIY/BBN" userId="68c40811-d079-4369-be7a-c70ba99d5235" providerId="ADAL" clId="{6BFF62C4-EF7B-4076-B6BF-2B5770FE6CF0}" dt="2024-08-30T08:32:41.149" v="4716" actId="20577"/>
          <ac:spMkLst>
            <pc:docMk/>
            <pc:sldMk cId="3865850111" sldId="2147375614"/>
            <ac:spMk id="6" creationId="{AC2F88D2-81D4-FAD4-568E-A3F495B06411}"/>
          </ac:spMkLst>
        </pc:spChg>
        <pc:picChg chg="add del">
          <ac:chgData name="Muthukumar, Priadarshni SBOBNG-PTIY/BBN" userId="68c40811-d079-4369-be7a-c70ba99d5235" providerId="ADAL" clId="{6BFF62C4-EF7B-4076-B6BF-2B5770FE6CF0}" dt="2024-08-30T07:58:47.690" v="2425"/>
          <ac:picMkLst>
            <pc:docMk/>
            <pc:sldMk cId="3865850111" sldId="2147375614"/>
            <ac:picMk id="1026" creationId="{CCDAFD75-497F-250F-58C0-D0D29834EF28}"/>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oleObject" Target="../embeddings/oleObject9.bin"/><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3.png"/><Relationship Id="rId5" Type="http://schemas.openxmlformats.org/officeDocument/2006/relationships/hyperlink" Target="https://github.com/Priadarshni2112/Shell-Bootcamp" TargetMode="External"/><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oleObject" Target="../embeddings/oleObject10.bin"/><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3.png"/><Relationship Id="rId5" Type="http://schemas.openxmlformats.org/officeDocument/2006/relationships/hyperlink" Target="https://github.com/Priadarshni2112/Shell-Bootcamp" TargetMode="External"/><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oleObject" Target="../embeddings/oleObject11.bin"/><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3.png"/><Relationship Id="rId5" Type="http://schemas.openxmlformats.org/officeDocument/2006/relationships/hyperlink" Target="https://github.com/Priadarshni2112/Shell-Bootcamp" TargetMode="Externa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Priadarshni Muthukumar</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a:t>
            </a:r>
          </a:p>
          <a:p>
            <a:pPr marL="0" indent="0">
              <a:buNone/>
            </a:pPr>
            <a:r>
              <a:rPr lang="en-US" sz="2000" dirty="0"/>
              <a:t>The teams in Shell, follow the SDLC life cycle processes while developing their project. The Sprint agile framework is the most used SDLC model. Therefore, it is implemented by most of the teams working on a project.</a:t>
            </a:r>
          </a:p>
          <a:p>
            <a:pPr marL="0" indent="0">
              <a:buNone/>
            </a:pPr>
            <a:r>
              <a:rPr lang="en-US" sz="2000" dirty="0"/>
              <a:t>How I feel Shell benefits from this learning </a:t>
            </a:r>
          </a:p>
          <a:p>
            <a:pPr marL="0" indent="0">
              <a:buNone/>
            </a:pPr>
            <a:r>
              <a:rPr lang="en-US" sz="2000" dirty="0"/>
              <a:t>This form of development is highly efficient and client interactive, hence, it contributes to systematic project development and client requirements/changes can be easily accommodate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B55EDB5D-A491-305D-86A5-625AFCCA6E7A}"/>
              </a:ext>
            </a:extLst>
          </p:cNvPr>
          <p:cNvPicPr>
            <a:picLocks noChangeAspect="1"/>
          </p:cNvPicPr>
          <p:nvPr/>
        </p:nvPicPr>
        <p:blipFill>
          <a:blip r:embed="rId7"/>
          <a:stretch>
            <a:fillRect/>
          </a:stretch>
        </p:blipFill>
        <p:spPr>
          <a:xfrm>
            <a:off x="6392651" y="1820863"/>
            <a:ext cx="5357155" cy="4184208"/>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e most common challenge I faced in while understanding Professionalism was effective Communication. I had difficulty in speaking without grammatical errors in front of unknown people. In order to overcome them I spent </a:t>
            </a:r>
            <a:r>
              <a:rPr lang="en-US" sz="2000" dirty="0" err="1"/>
              <a:t>atleast</a:t>
            </a:r>
            <a:r>
              <a:rPr lang="en-US" sz="2000" dirty="0"/>
              <a:t> one hour in improving my speaking. I noted down my weak points through self assessments and tried to work on those specifically. </a:t>
            </a:r>
          </a:p>
          <a:p>
            <a:pPr marL="0" indent="0">
              <a:buNone/>
            </a:pPr>
            <a:endParaRPr lang="en-US" sz="2000" dirty="0"/>
          </a:p>
          <a:p>
            <a:pPr marL="0" indent="0">
              <a:buNone/>
            </a:pPr>
            <a:r>
              <a:rPr lang="en-US" sz="2000" dirty="0">
                <a:hlinkClick r:id="rId5"/>
              </a:rPr>
              <a:t>Priadarshni2112/Shell-Bootcamp (github.com)</a:t>
            </a:r>
            <a:endParaRPr lang="en-US" sz="18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208DD2E4-41C2-528D-C0A8-60BF86ADB39C}"/>
              </a:ext>
            </a:extLst>
          </p:cNvPr>
          <p:cNvPicPr>
            <a:picLocks noChangeAspect="1"/>
          </p:cNvPicPr>
          <p:nvPr/>
        </p:nvPicPr>
        <p:blipFill rotWithShape="1">
          <a:blip r:embed="rId8"/>
          <a:srcRect l="18332" t="23393" r="52501" b="13426"/>
          <a:stretch/>
        </p:blipFill>
        <p:spPr>
          <a:xfrm>
            <a:off x="6400798" y="1460403"/>
            <a:ext cx="4460241" cy="4877419"/>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Understanding the exact number of stakeholders and the priority of stakeholders was one the challenge I faced while learning about Stakeholder management. To overcome this, I analyzed multiple case studies and problems to identify the correct stakeholders and classify them accordingly.</a:t>
            </a:r>
          </a:p>
          <a:p>
            <a:pPr marL="0" indent="0">
              <a:buNone/>
            </a:pPr>
            <a:endParaRPr lang="en-US" sz="2000" dirty="0"/>
          </a:p>
          <a:p>
            <a:pPr marL="0" indent="0">
              <a:buNone/>
            </a:pPr>
            <a:r>
              <a:rPr lang="en-US" sz="2000" dirty="0">
                <a:hlinkClick r:id="rId5"/>
              </a:rPr>
              <a:t>Priadarshni2112/Shell-Bootcamp (github.com)</a:t>
            </a:r>
            <a:endParaRPr lang="en-US" sz="18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6CF9A4C1-DD56-DC29-E1E9-375DACBDBB56}"/>
              </a:ext>
            </a:extLst>
          </p:cNvPr>
          <p:cNvPicPr>
            <a:picLocks noChangeAspect="1"/>
          </p:cNvPicPr>
          <p:nvPr/>
        </p:nvPicPr>
        <p:blipFill>
          <a:blip r:embed="rId8"/>
          <a:stretch>
            <a:fillRect/>
          </a:stretch>
        </p:blipFill>
        <p:spPr>
          <a:xfrm rot="5400000">
            <a:off x="6412467" y="1385567"/>
            <a:ext cx="4798059" cy="4953003"/>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e challenge I faced while understanding the Sprint Agile Model was how sprints are formed from user stories and built in parts by the developers. To overcome this challenge, I tried to observe the Azure DevOps and story backlogs and note down the various steps/descriptions involved in its creation.</a:t>
            </a:r>
          </a:p>
          <a:p>
            <a:pPr marL="0" indent="0">
              <a:buNone/>
            </a:pPr>
            <a:endParaRPr lang="en-US" sz="2000" dirty="0"/>
          </a:p>
          <a:p>
            <a:pPr marL="0" indent="0">
              <a:buNone/>
            </a:pPr>
            <a:r>
              <a:rPr lang="en-US" sz="2000" dirty="0">
                <a:hlinkClick r:id="rId5"/>
              </a:rPr>
              <a:t>Priadarshni2112/Shell-Bootcamp (github.com)</a:t>
            </a:r>
            <a:endParaRPr lang="en-US" sz="18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sp>
        <p:nvSpPr>
          <p:cNvPr id="8"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050" name="Picture 2" descr="Azure DevOps Processes Part 4: Overview of the Agile Process – Everything  D365">
            <a:extLst>
              <a:ext uri="{FF2B5EF4-FFF2-40B4-BE49-F238E27FC236}">
                <a16:creationId xmlns:a16="http://schemas.microsoft.com/office/drawing/2014/main" id="{B354F715-BC59-4276-DF59-12AB3FDC181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55265" y="1963374"/>
            <a:ext cx="5394541" cy="3840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800" dirty="0">
              <a:effectLst>
                <a:outerShdw blurRad="38100" dist="38100" dir="2700000" algn="tl">
                  <a:srgbClr val="000000">
                    <a:alpha val="43137"/>
                  </a:srgbClr>
                </a:outerShdw>
              </a:effectLst>
            </a:endParaRPr>
          </a:p>
          <a:p>
            <a:pPr marL="0" indent="0">
              <a:buNone/>
            </a:pPr>
            <a:r>
              <a:rPr lang="en-US" sz="1800" dirty="0">
                <a:effectLst>
                  <a:outerShdw blurRad="38100" dist="38100" dir="2700000" algn="tl">
                    <a:srgbClr val="000000">
                      <a:alpha val="43137"/>
                    </a:srgbClr>
                  </a:outerShdw>
                </a:effectLst>
              </a:rPr>
              <a:t>In this week, I will try to improve my communication skills by practicing business communication by practicing speeches and taking listening tests.</a:t>
            </a:r>
          </a:p>
          <a:p>
            <a:pPr marL="0" indent="0">
              <a:buNone/>
            </a:pPr>
            <a:r>
              <a:rPr lang="en-US" sz="1800" dirty="0">
                <a:effectLst>
                  <a:outerShdw blurRad="38100" dist="38100" dir="2700000" algn="tl">
                    <a:srgbClr val="000000">
                      <a:alpha val="43137"/>
                    </a:srgbClr>
                  </a:outerShdw>
                </a:effectLst>
              </a:rPr>
              <a:t>During group activities or meets, I will make sure to share my opinions in a respectful manner and ensure that all the members have equal contribution.</a:t>
            </a:r>
          </a:p>
          <a:p>
            <a:pPr marL="0" indent="0">
              <a:buNone/>
            </a:pPr>
            <a:r>
              <a:rPr lang="en-US" sz="1800" dirty="0">
                <a:effectLst>
                  <a:outerShdw blurRad="38100" dist="38100" dir="2700000" algn="tl">
                    <a:srgbClr val="000000">
                      <a:alpha val="43137"/>
                    </a:srgbClr>
                  </a:outerShdw>
                </a:effectLst>
              </a:rPr>
              <a:t>I will try to implement the BRD,SRS and Agile Model on the topic given.</a:t>
            </a:r>
          </a:p>
          <a:p>
            <a:pPr marL="0" indent="0">
              <a:buFont typeface="Arial" panose="020B0604020202020204" pitchFamily="34" charset="0"/>
              <a:buNone/>
            </a:pPr>
            <a:endParaRPr lang="en-US" sz="18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effectLst>
                  <a:outerShdw blurRad="38100" dist="38100" dir="2700000" algn="tl">
                    <a:srgbClr val="000000">
                      <a:alpha val="43137"/>
                    </a:srgbClr>
                  </a:outerShdw>
                </a:effectLst>
              </a:rPr>
              <a:t>Work on communication skills:1-2 hours everyday</a:t>
            </a:r>
          </a:p>
          <a:p>
            <a:pPr marL="0" indent="0">
              <a:buFont typeface="Arial" panose="020B0604020202020204" pitchFamily="34" charset="0"/>
              <a:buNone/>
            </a:pPr>
            <a:r>
              <a:rPr lang="en-US" sz="2000" dirty="0">
                <a:effectLst>
                  <a:outerShdw blurRad="38100" dist="38100" dir="2700000" algn="tl">
                    <a:srgbClr val="000000">
                      <a:alpha val="43137"/>
                    </a:srgbClr>
                  </a:outerShdw>
                </a:effectLst>
              </a:rPr>
              <a:t>Work on the Business Requirement Document (BRD): 3-4 hours</a:t>
            </a:r>
          </a:p>
          <a:p>
            <a:pPr marL="0" indent="0">
              <a:buFont typeface="Arial" panose="020B0604020202020204" pitchFamily="34" charset="0"/>
              <a:buNone/>
            </a:pPr>
            <a:r>
              <a:rPr lang="en-US" sz="2000" dirty="0">
                <a:effectLst>
                  <a:outerShdw blurRad="38100" dist="38100" dir="2700000" algn="tl">
                    <a:srgbClr val="000000">
                      <a:alpha val="43137"/>
                    </a:srgbClr>
                  </a:outerShdw>
                </a:effectLst>
              </a:rPr>
              <a:t>Software Requirement Specification document: 5-6 hours</a:t>
            </a:r>
          </a:p>
          <a:p>
            <a:pPr marL="0" indent="0">
              <a:buFont typeface="Arial" panose="020B0604020202020204" pitchFamily="34" charset="0"/>
              <a:buNone/>
            </a:pPr>
            <a:r>
              <a:rPr lang="en-US" sz="2000" dirty="0">
                <a:effectLst>
                  <a:outerShdw blurRad="38100" dist="38100" dir="2700000" algn="tl">
                    <a:srgbClr val="000000">
                      <a:alpha val="43137"/>
                    </a:srgbClr>
                  </a:outerShdw>
                </a:effectLst>
              </a:rPr>
              <a:t>Agile Sprint Model Implementation document: 5-6 hours</a:t>
            </a:r>
          </a:p>
          <a:p>
            <a:pPr marL="0" indent="0">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3558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was able to complete all the tasks/actions mentioned in week-1.</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4"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One of the group activity, which was fun and engaging was ‘logo making’, groups of 6 were formed and directed to create a logo along with a name and tagline that defines it. </a:t>
            </a:r>
          </a:p>
          <a:p>
            <a:r>
              <a:rPr lang="en-US" sz="2000" dirty="0"/>
              <a:t>The activity was creative and interactive, it helped to understand teamwork and effective communication.</a:t>
            </a:r>
          </a:p>
          <a:p>
            <a:r>
              <a:rPr lang="en-US" sz="2000" dirty="0"/>
              <a:t>Our group designed a logo depicting ‘fire and water’ as ‘unity’. The name of the logo is ‘HENOSIS’ which means ‘united’ or ‘together’.</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screenshot of a computer&#10;&#10;Description automatically generated">
            <a:extLst>
              <a:ext uri="{FF2B5EF4-FFF2-40B4-BE49-F238E27FC236}">
                <a16:creationId xmlns:a16="http://schemas.microsoft.com/office/drawing/2014/main" id="{49CCB04B-32D4-D362-DD25-0AAFB0CE12DB}"/>
              </a:ext>
            </a:extLst>
          </p:cNvPr>
          <p:cNvPicPr>
            <a:picLocks noChangeAspect="1"/>
          </p:cNvPicPr>
          <p:nvPr/>
        </p:nvPicPr>
        <p:blipFill rotWithShape="1">
          <a:blip r:embed="rId7">
            <a:extLst>
              <a:ext uri="{28A0092B-C50C-407E-A947-70E740481C1C}">
                <a14:useLocalDpi xmlns:a14="http://schemas.microsoft.com/office/drawing/2010/main" val="0"/>
              </a:ext>
            </a:extLst>
          </a:blip>
          <a:srcRect l="31919" t="31703" r="22014" b="18559"/>
          <a:stretch/>
        </p:blipFill>
        <p:spPr>
          <a:xfrm>
            <a:off x="6400800" y="1963818"/>
            <a:ext cx="5340419" cy="4076241"/>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At the end of week 1,under soft skills training, I was able to understand the importance of professionalism in a work environment. The various components in professionalism help to define ourselves as better individuals in a workplace.</a:t>
            </a:r>
          </a:p>
          <a:p>
            <a:pPr>
              <a:lnSpc>
                <a:spcPct val="100000"/>
              </a:lnSpc>
            </a:pPr>
            <a:r>
              <a:rPr lang="en-US" sz="2000" dirty="0"/>
              <a:t>Next, stakeholder management was one of the key learning from week 1. It helps to communicate better with the clients and understand their requirements and preferences.</a:t>
            </a:r>
          </a:p>
          <a:p>
            <a:pPr>
              <a:lnSpc>
                <a:spcPct val="100000"/>
              </a:lnSpc>
            </a:pPr>
            <a:r>
              <a:rPr lang="en-US" sz="2000" dirty="0"/>
              <a:t>Next, as a part of technical Bootcamp, I gained knowledge about Business Analyst functionalities, Software development lifecycle (SDLC), its stages and Agile framework, which is mostly followed during project development.</a:t>
            </a:r>
          </a:p>
          <a:p>
            <a:pPr>
              <a:lnSpc>
                <a:spcPct val="100000"/>
              </a:lnSpc>
            </a:pPr>
            <a:r>
              <a:rPr lang="en-US" sz="2000" dirty="0"/>
              <a:t>In the upcoming weeks, we will learn more about DBMS, Software Testing, DevOps and Cloud.</a:t>
            </a:r>
          </a:p>
          <a:p>
            <a:pPr>
              <a:lnSpc>
                <a:spcPct val="100000"/>
              </a:lnSpc>
            </a:pPr>
            <a:endParaRPr lang="en-US" sz="2000" dirty="0"/>
          </a:p>
          <a:p>
            <a:pPr>
              <a:lnSpc>
                <a:spcPct val="100000"/>
              </a:lnSpc>
            </a:pPr>
            <a:endParaRPr lang="en-US" sz="1800" dirty="0"/>
          </a:p>
          <a:p>
            <a:pPr>
              <a:lnSpc>
                <a:spcPct val="100000"/>
              </a:lnSpc>
            </a:pPr>
            <a:endParaRPr lang="en-US" sz="1800" dirty="0"/>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The Harder you work for something, the greater you feel when you achieve it.</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2" name="Picture 1">
            <a:extLst>
              <a:ext uri="{FF2B5EF4-FFF2-40B4-BE49-F238E27FC236}">
                <a16:creationId xmlns:a16="http://schemas.microsoft.com/office/drawing/2014/main" id="{17BBDCB8-DB67-115A-1BFF-E8632C1F72D4}"/>
              </a:ext>
            </a:extLst>
          </p:cNvPr>
          <p:cNvPicPr>
            <a:picLocks noChangeAspect="1"/>
          </p:cNvPicPr>
          <p:nvPr/>
        </p:nvPicPr>
        <p:blipFill>
          <a:blip r:embed="rId5"/>
          <a:stretch>
            <a:fillRect/>
          </a:stretch>
        </p:blipFill>
        <p:spPr>
          <a:xfrm>
            <a:off x="6381232" y="1831738"/>
            <a:ext cx="5372689" cy="4076241"/>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65861" y="478702"/>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r>
              <a:rPr lang="en-US" sz="2000" dirty="0"/>
              <a:t>To begin with, I learnt about the importance of professionalism and various elements (punctuality, behavior, growth mindset honesty, responsibility, integrity and effective communication) associated with it. </a:t>
            </a:r>
          </a:p>
          <a:p>
            <a:r>
              <a:rPr lang="en-US" sz="2000" dirty="0"/>
              <a:t>Business Etiquette (including grooming) and Email Writing were two of the most important key takeaways in this learning.</a:t>
            </a:r>
          </a:p>
          <a:p>
            <a:r>
              <a:rPr lang="en-US" sz="2000" dirty="0"/>
              <a:t>Being in a workplace, I think its necessary to upheld all the values/skills listed above for a safe and healthy working environment.</a:t>
            </a:r>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CF1B470F-AAA3-ED45-9DF7-7151580B8E14}"/>
              </a:ext>
            </a:extLst>
          </p:cNvPr>
          <p:cNvPicPr>
            <a:picLocks noChangeAspect="1"/>
          </p:cNvPicPr>
          <p:nvPr/>
        </p:nvPicPr>
        <p:blipFill rotWithShape="1">
          <a:blip r:embed="rId7"/>
          <a:srcRect l="14579" t="20909" r="18947" b="11442"/>
          <a:stretch/>
        </p:blipFill>
        <p:spPr>
          <a:xfrm>
            <a:off x="6306958" y="1860994"/>
            <a:ext cx="5442848" cy="4076240"/>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900" dirty="0"/>
              <a:t>Stakeholder Management was one of the key concepts learnt. It includes different processes namely- Identifying Stakeholders, Plan Stakeholder Management, Stakeholder Engagement and Control Stakeholder engagement.</a:t>
            </a:r>
          </a:p>
          <a:p>
            <a:r>
              <a:rPr lang="en-US" sz="1900" dirty="0"/>
              <a:t>We also learnt about the importance of teamwork. These are important as we will be working in teams during project developments.</a:t>
            </a:r>
          </a:p>
          <a:p>
            <a:r>
              <a:rPr lang="en-US" sz="1900" dirty="0"/>
              <a:t>Working in real-time projects stakeholder management, a very crucial learning. It helps to understand and approach the stakeholders in an efficient manner and fulfil their requirement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00211"/>
            <a:ext cx="5349007" cy="4137024"/>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2050" name="Picture 2">
            <a:extLst>
              <a:ext uri="{FF2B5EF4-FFF2-40B4-BE49-F238E27FC236}">
                <a16:creationId xmlns:a16="http://schemas.microsoft.com/office/drawing/2014/main" id="{D6D4A02F-935A-A8DA-D745-E0C231C1FF17}"/>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t="37055" b="13208"/>
          <a:stretch/>
        </p:blipFill>
        <p:spPr bwMode="auto">
          <a:xfrm>
            <a:off x="6400799" y="1800210"/>
            <a:ext cx="5353137" cy="413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During the technical Bootcamp, I learnt about the functions of a Business Analyst (BA). The BA acts a medium of communication between the client and the developers. </a:t>
            </a:r>
          </a:p>
          <a:p>
            <a:r>
              <a:rPr lang="en-US" sz="2000" dirty="0"/>
              <a:t>The BA who have both Functional and Technical knowledge are called Product Owner (PO).</a:t>
            </a:r>
          </a:p>
          <a:p>
            <a:r>
              <a:rPr lang="en-US" sz="2000" dirty="0"/>
              <a:t>Next, I learnt about the Software Development Life Cycle (SDLC) and the various processes involved in it.</a:t>
            </a:r>
          </a:p>
          <a:p>
            <a:r>
              <a:rPr lang="en-US" sz="2000" dirty="0"/>
              <a:t>These concepts will help in developing projects and understanding the stages of project development.</a:t>
            </a:r>
          </a:p>
          <a:p>
            <a:pPr marL="0" indent="0">
              <a:buFont typeface="Arial" panose="020B0604020202020204" pitchFamily="34" charset="0"/>
              <a:buNone/>
            </a:pPr>
            <a:endParaRPr lang="en-US" sz="2000" dirty="0"/>
          </a:p>
        </p:txBody>
      </p:sp>
      <p:pic>
        <p:nvPicPr>
          <p:cNvPr id="3074" name="Picture 2">
            <a:extLst>
              <a:ext uri="{FF2B5EF4-FFF2-40B4-BE49-F238E27FC236}">
                <a16:creationId xmlns:a16="http://schemas.microsoft.com/office/drawing/2014/main" id="{0355A3AF-34DE-63A7-3A32-954DA5603A35}"/>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t="34993" b="5315"/>
          <a:stretch/>
        </p:blipFill>
        <p:spPr bwMode="auto">
          <a:xfrm>
            <a:off x="6432731" y="1779688"/>
            <a:ext cx="5291097" cy="4211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a:t>
            </a:r>
          </a:p>
          <a:p>
            <a:pPr marL="0" indent="0">
              <a:buNone/>
            </a:pPr>
            <a:r>
              <a:rPr lang="en-US" sz="2000" dirty="0"/>
              <a:t>Shell encourages to always follow professional behavior in the workplace. Having a growth mindset is a concept shell encourages among everyone who are a part of the organization. Shell also believes that effective communication is key to success of oneself and the organization.</a:t>
            </a:r>
          </a:p>
          <a:p>
            <a:pPr marL="0" indent="0">
              <a:buNone/>
            </a:pPr>
            <a:r>
              <a:rPr lang="en-US" sz="2000" dirty="0"/>
              <a:t>How I feel Shell benefits from this learning </a:t>
            </a:r>
          </a:p>
          <a:p>
            <a:pPr marL="0" indent="0">
              <a:buNone/>
            </a:pPr>
            <a:r>
              <a:rPr lang="en-US" sz="2000" dirty="0"/>
              <a:t>Growth mindset in an individual makes him learn quicker and work smarter. This not only improves their personal growth but also the </a:t>
            </a:r>
            <a:r>
              <a:rPr lang="en-US" sz="2000"/>
              <a:t>company’s progress.</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49CF540D-EE11-C14D-5A8E-D61705764E6E}"/>
              </a:ext>
            </a:extLst>
          </p:cNvPr>
          <p:cNvPicPr>
            <a:picLocks noChangeAspect="1"/>
          </p:cNvPicPr>
          <p:nvPr/>
        </p:nvPicPr>
        <p:blipFill>
          <a:blip r:embed="rId7"/>
          <a:stretch>
            <a:fillRect/>
          </a:stretch>
        </p:blipFill>
        <p:spPr>
          <a:xfrm>
            <a:off x="6497180" y="1996553"/>
            <a:ext cx="5226648" cy="3805119"/>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a:t>
            </a:r>
          </a:p>
          <a:p>
            <a:pPr marL="0" indent="0">
              <a:buNone/>
            </a:pPr>
            <a:r>
              <a:rPr lang="en-US" sz="2000" dirty="0"/>
              <a:t>Shell, which have millions of stakeholders, understands the importance of stakeholder management and works towards satisfying their expectations. It also conducts multiple programs and workshops to keep everyone updated on this concept.</a:t>
            </a:r>
          </a:p>
          <a:p>
            <a:pPr marL="0" indent="0">
              <a:buNone/>
            </a:pPr>
            <a:r>
              <a:rPr lang="en-US" sz="2000" dirty="0"/>
              <a:t>How I feel Shell benefits from this learning </a:t>
            </a:r>
          </a:p>
          <a:p>
            <a:pPr marL="0" indent="0">
              <a:buNone/>
            </a:pPr>
            <a:r>
              <a:rPr lang="en-US" sz="2000" dirty="0"/>
              <a:t>Effective stakeholder management and healthy teamwork not only helps in proper completion of the project but also increases the overall performance of the compan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300E78EB-C411-0DD3-A685-AE8884F85B8B}"/>
              </a:ext>
            </a:extLst>
          </p:cNvPr>
          <p:cNvPicPr>
            <a:picLocks noChangeAspect="1"/>
          </p:cNvPicPr>
          <p:nvPr/>
        </p:nvPicPr>
        <p:blipFill>
          <a:blip r:embed="rId7"/>
          <a:stretch>
            <a:fillRect/>
          </a:stretch>
        </p:blipFill>
        <p:spPr>
          <a:xfrm>
            <a:off x="6400799" y="1860993"/>
            <a:ext cx="5326286" cy="3968307"/>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977</TotalTime>
  <Words>1235</Words>
  <Application>Microsoft Office PowerPoint</Application>
  <PresentationFormat>Widescreen</PresentationFormat>
  <Paragraphs>96</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Muthukumar, Priadarshni SBOBNG-PTIY/BBN</cp:lastModifiedBy>
  <cp:revision>500</cp:revision>
  <dcterms:created xsi:type="dcterms:W3CDTF">2022-01-18T12:35:56Z</dcterms:created>
  <dcterms:modified xsi:type="dcterms:W3CDTF">2024-08-30T16:5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